
<file path=[Content_Types].xml><?xml version="1.0" encoding="utf-8"?>
<Types xmlns="http://schemas.openxmlformats.org/package/2006/content-types">
  <Default Extension="gif" ContentType="image/gif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603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5D4"/>
    <a:srgbClr val="47AB2C"/>
    <a:srgbClr val="3C4F69"/>
    <a:srgbClr val="1A24AA"/>
    <a:srgbClr val="94186B"/>
    <a:srgbClr val="C40811"/>
    <a:srgbClr val="FFB115"/>
    <a:srgbClr val="3542E0"/>
    <a:srgbClr val="C82091"/>
    <a:srgbClr val="F62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2" d="100"/>
          <a:sy n="102" d="100"/>
        </p:scale>
        <p:origin x="64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2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12FC-90FF-4B94-9263-B812CCB51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036D0-E6B5-434C-940A-96676C27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BDD0-5377-499C-A75C-DCB6DEF03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11BD4D-1490-4F18-8CD7-D2ADC24C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19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9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4268E-00F7-462C-A259-1BA94CB78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Minutes Timer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81F03E0C-B254-447A-8962-9A2ED7C7C8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85725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152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  <wetp:taskpane dockstate="right" visibility="0" width="350" row="8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21DC2DC5-8D14-4A5B-B73F-CF38CECC781E}">
  <we:reference id="wa200003052" version="1.0.0.0" store="en-US" storeType="OMEX"/>
  <we:alternateReferences>
    <we:reference id="WA200003052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486</TotalTime>
  <Words>3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5 Minutes Tim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586</cp:revision>
  <dcterms:created xsi:type="dcterms:W3CDTF">2020-11-27T23:09:27Z</dcterms:created>
  <dcterms:modified xsi:type="dcterms:W3CDTF">2022-02-01T12:3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